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435" r:id="rId2"/>
    <p:sldId id="438" r:id="rId3"/>
    <p:sldId id="437" r:id="rId4"/>
    <p:sldId id="408" r:id="rId5"/>
    <p:sldId id="257" r:id="rId6"/>
    <p:sldId id="375" r:id="rId7"/>
    <p:sldId id="432" r:id="rId8"/>
    <p:sldId id="409" r:id="rId9"/>
    <p:sldId id="414" r:id="rId10"/>
    <p:sldId id="410" r:id="rId11"/>
    <p:sldId id="395" r:id="rId12"/>
    <p:sldId id="374" r:id="rId13"/>
    <p:sldId id="396" r:id="rId14"/>
    <p:sldId id="353" r:id="rId15"/>
    <p:sldId id="352" r:id="rId16"/>
    <p:sldId id="411" r:id="rId17"/>
    <p:sldId id="397" r:id="rId18"/>
    <p:sldId id="418" r:id="rId19"/>
    <p:sldId id="420" r:id="rId20"/>
    <p:sldId id="416" r:id="rId21"/>
    <p:sldId id="434" r:id="rId22"/>
    <p:sldId id="413" r:id="rId23"/>
    <p:sldId id="421" r:id="rId24"/>
    <p:sldId id="422" r:id="rId25"/>
    <p:sldId id="423" r:id="rId26"/>
    <p:sldId id="424" r:id="rId27"/>
    <p:sldId id="425" r:id="rId28"/>
    <p:sldId id="426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 varScale="1">
        <p:scale>
          <a:sx n="58" d="100"/>
          <a:sy n="58" d="100"/>
        </p:scale>
        <p:origin x="223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3.1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3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supervisord.org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imagelayers.io/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docs.docker.com/engine/introduction/understanding-docker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ocker.com/reference" TargetMode="External"/><Relationship Id="rId2" Type="http://schemas.openxmlformats.org/officeDocument/2006/relationships/hyperlink" Target="https://coderwall.com/p/2es5jw/docker-cheat-sheet-with-examples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docker.com/engine/reference/builder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hyperlink" Target="https://github.com/veggiemonk/awesome-docker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pencontainers.org/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8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Images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0" name="Group 29"/>
          <p:cNvGrpSpPr/>
          <p:nvPr/>
        </p:nvGrpSpPr>
        <p:grpSpPr>
          <a:xfrm>
            <a:off x="4269207" y="188544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86361" y="308831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380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13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7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89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512700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80</Words>
  <Application>Microsoft Office PowerPoint</Application>
  <PresentationFormat>Breitbild</PresentationFormat>
  <Paragraphs>278</Paragraphs>
  <Slides>2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9" baseType="lpstr">
      <vt:lpstr>Arial</vt:lpstr>
      <vt:lpstr>Arial Narrow</vt:lpstr>
      <vt:lpstr>Calibri</vt:lpstr>
      <vt:lpstr>Cambria Math</vt:lpstr>
      <vt:lpstr>Courier New</vt:lpstr>
      <vt:lpstr>Lucida Grande</vt:lpstr>
      <vt:lpstr>Mangal</vt:lpstr>
      <vt:lpstr>Source Code Pro</vt:lpstr>
      <vt:lpstr>Wingdings</vt:lpstr>
      <vt:lpstr>qaware-folienmaster-1.01</vt:lpstr>
      <vt:lpstr>think-cell Folie</vt:lpstr>
      <vt:lpstr>PowerPoint-Präsentation</vt:lpstr>
      <vt:lpstr>PowerPoint-Präsentation</vt:lpstr>
      <vt:lpstr>The Cloud Native Stack</vt:lpstr>
      <vt:lpstr>Hardware vs. OS Virtualization</vt:lpstr>
      <vt:lpstr>Docker Basics</vt:lpstr>
      <vt:lpstr>Containerization with Docker</vt:lpstr>
      <vt:lpstr>Docker: Building Blocks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PowerPoint-Präsentation</vt:lpstr>
      <vt:lpstr>Docker Workflow</vt:lpstr>
      <vt:lpstr>Docker Workflow Overview</vt:lpstr>
      <vt:lpstr>A Typical Workflow</vt:lpstr>
      <vt:lpstr>Container Troubleshooting</vt:lpstr>
      <vt:lpstr>Writing Dockerfiles</vt:lpstr>
      <vt:lpstr>A Dockerfile can be Used to Build an Image</vt:lpstr>
      <vt:lpstr>Dockerfile Command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3</cp:revision>
  <dcterms:created xsi:type="dcterms:W3CDTF">2014-10-08T07:51:16Z</dcterms:created>
  <dcterms:modified xsi:type="dcterms:W3CDTF">2016-11-03T19:34:05Z</dcterms:modified>
</cp:coreProperties>
</file>